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C071C3BA-AE0A-429A-8DED-BA1FC72CE7BE}">
          <p14:sldIdLst>
            <p14:sldId id="2147477365"/>
            <p14:sldId id="2147477366"/>
            <p14:sldId id="2147477367"/>
          </p14:sldIdLst>
        </p14:section>
        <p14:section name="Price Positioning Summary Sector" id="{9C4FD5D8-AACB-4129-BC07-ECB4CB5D57DF}">
          <p14:sldIdLst>
            <p14:sldId id="2147477368"/>
            <p14:sldId id="2147477369"/>
            <p14:sldId id="2147477370"/>
          </p14:sldIdLst>
        </p14:section>
        <p14:section name="Price Positioning Summary Segment" id="{1EF1B105-1157-48BF-97B8-145FC8FE211C}">
          <p14:sldIdLst>
            <p14:sldId id="2147477371"/>
            <p14:sldId id="2147477372"/>
            <p14:sldId id="2147477373"/>
          </p14:sldIdLst>
        </p14:section>
        <p14:section name="Price Positioning Analysis By Brands" id="{0865C8DD-404F-437B-B8B8-EE5C8D74B1E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EBDDD0E5-7669-43C2-9BE7-249515428734}">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EC60221A-ECBC-4A55-B8EC-A755B3E608B9}">
          <p14:sldIdLst>
            <p14:sldId id="2147477404"/>
            <p14:sldId id="2147477405"/>
            <p14:sldId id="2147477406"/>
          </p14:sldIdLst>
        </p14:section>
        <p14:section name="Segments Share and Growth By Brands" id="{76512675-7781-46F5-96CF-F237C3F01E38}">
          <p14:sldIdLst>
            <p14:sldId id="2147477407"/>
            <p14:sldId id="2147477408"/>
            <p14:sldId id="2147477409"/>
          </p14:sldIdLst>
        </p14:section>
        <p14:section name="Sectors Share and Growth By Manufacturer" id="{D9E984C6-0CA7-4BD0-ADFF-9B8ED72C6D70}">
          <p14:sldIdLst>
            <p14:sldId id="2147477410"/>
            <p14:sldId id="2147477411"/>
            <p14:sldId id="2147477412"/>
          </p14:sldIdLst>
        </p14:section>
        <p14:section name="Segments Share and Growth By Manufacturer" id="{A75ADD48-FEE9-4E51-B97C-4B6F26B76FA9}">
          <p14:sldIdLst>
            <p14:sldId id="2147477413"/>
            <p14:sldId id="2147477414"/>
            <p14:sldId id="2147477415"/>
          </p14:sldIdLst>
        </p14:section>
        <p14:section name="Sec/Seg Value Sales Vs Avg Price By Manufacturer" id="{58A45CAF-1975-4087-B8EF-03791EC06953}">
          <p14:sldIdLst>
            <p14:sldId id="2147477416"/>
            <p14:sldId id="2147477417"/>
            <p14:sldId id="2147477418"/>
          </p14:sldIdLst>
        </p14:section>
        <p14:section name="Sec/Seg Value Sales Vs Avg Price" id="{A6B79EEA-F512-4FFD-ACEA-FBDC9AF6BD50}">
          <p14:sldIdLst>
            <p14:sldId id="2147477419"/>
            <p14:sldId id="2147477420"/>
            <p14:sldId id="2147477421"/>
            <p14:sldId id="2147477422"/>
            <p14:sldId id="2147477423"/>
            <p14:sldId id="2147477424"/>
            <p14:sldId id="2147477425"/>
            <p14:sldId id="2147477426"/>
          </p14:sldIdLst>
        </p14:section>
        <p14:section name="Sectors Value Sales Vs Avg Price" id="{F73CB583-1F2F-434D-B1DC-E054F5DA7D70}">
          <p14:sldIdLst>
            <p14:sldId id="2147477427"/>
            <p14:sldId id="2147477428"/>
            <p14:sldId id="2147477429"/>
            <p14:sldId id="2147477430"/>
            <p14:sldId id="2147477431"/>
            <p14:sldId id="2147477432"/>
            <p14:sldId id="2147477433"/>
            <p14:sldId id="2147477434"/>
          </p14:sldIdLst>
        </p14:section>
        <p14:section name="Segment Value Sales Vs Avg Price" id="{C89BF4AB-5BD4-4F43-9A0B-7E045716279E}">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73DA86-6DCB-401B-BCAE-3A7B79FBA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050112-ADCA-42D1-AF81-685618514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D24391-3795-4D57-969C-B2478CA01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86018F-BA6B-4D87-96FA-8F652B8D1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60B5D8-D37E-4FE3-9393-A81C5AD20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072F6B-98C4-45EE-A4D2-C2A32DA43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6FBE9F-C309-4509-AE10-630BD339F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CDB9A4D-87AC-4C0D-8AAB-5B7D346CA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4DE2A-A3E3-40EE-B433-77DD184DE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4858AB-7C5D-4F3C-BA29-07019AA6F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5E2B08-A698-4921-8BCD-59F8EEACD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AB955B-F196-4B12-B953-D598C7F75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5841E9-D069-4A53-93A2-0C7D9DFEF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372465B-09CE-497E-B265-8D6606167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40C86D-452E-46CF-AEBC-CABE8F3C2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5FB402-CD45-4C96-A207-55584696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1358FDE-5BE6-423F-9DFF-071EFBCF5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0BBB7AD-46F0-4BE7-8C82-84E0206D9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DD273A7-63B4-471F-A049-E8B5C990B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420E196-485A-4115-AEC9-051F8806E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90B25ED-6429-405B-806B-6C7EE12B3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D393B58-B925-4FA7-90C6-F360088B3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7129A7B-68B8-48E4-BC67-67A9EA066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F7FBCA2-77EC-41FC-A9B1-3E7B5A6B0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329DAAA-F2D7-49EA-8574-68CE7F103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3507B15-EFE9-4957-9E65-579C3E795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97AB455-2DB0-4C74-88BB-5034AD74E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DFB7780-8973-498C-B580-754EEE6159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9EDD9B1-963C-4D48-BCEA-ADC28C7F0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2CDC8BE-F7AF-463C-A2F6-FD2B837D07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601A79F-D7DB-4001-958F-5A101AB44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01C66A1-0095-4DA7-9EBA-807C3655D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DEDF59-7C43-4061-9403-1B6DEC419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041870-3A79-403D-9703-2D1177517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79F59B-44D7-4E0C-B4F2-361A09BD0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8DDFA9-BCE3-44E8-A547-B63892D6F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A08A93-196E-4577-8430-D11C13383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39A00D-2DE7-491E-B05C-46CE05355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7D8D01-E31B-4DA2-A986-12136A0C6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CF509F-9428-41B4-B8EE-DF0BF61D7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9AE4D05-A320-48BB-B7FB-93AE7D7DF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D1D3D0D-4EB0-466F-AA77-614F53F78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9B785DE-155A-4D67-8523-28B730F6C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777F5C6-B5AE-4C95-9CF9-5E2C2BAA2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37099DA-44AC-46F0-B246-34153F5FE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3CFBDD3-ECB3-402A-A861-08A09FAC9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EAD94BC-E5EE-4F3A-90B1-E07828702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22F2C06-7775-4E7B-9D28-D81FE2C60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36574D7-8DE1-480A-BED3-66AF5EF91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7F89087-9420-4EEA-930F-0F9E68951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DC619E6-0ECC-4D15-9473-A6A404D10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F9DF882-0ED8-49DE-899B-72FC3E9F2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21D6931-35CB-45C3-9E01-AC731B65C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B0B203D-3B06-4631-9E26-8EEC12AB7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0D1FDEB-6640-429D-8F67-555798604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40F9AE42-2E1E-473F-B094-87E8367D7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12B8AD-0CFF-4E68-BBFB-430C1FE76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2B4A8A-E4F0-4DF8-8380-31384EC3E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5E08E9-A736-4E09-9C78-3FBF1243E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EC18E1-0172-4CE9-8387-8156B168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068A00-3DE6-498D-96A3-0514366D8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BE58F5-B573-4B15-A421-9B6DEF82F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732F7E-B1D4-43AA-B722-561A56E0A8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BB3B0C-A8F2-4227-8A40-CF0F18EB0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A48E47C-1F1A-4C02-AFCE-C94CA34CA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3B54E69-2876-40A1-87F4-1DB202B5C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BD51A33-D101-45B6-8CFA-9827A12E0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57954C2-C20B-4976-A9BE-A1E2BB888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603E0D5-275D-4523-9AC2-89D640531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E4F7F6E-DD8D-4796-81CF-1CB6C1E72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5704443-199D-4949-951C-7ECD20BB5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D1D27B2-A829-4601-8810-9F2A80F53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C80F39C-2E60-4D66-B598-51FD27EC6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91A10B0-5338-4663-96E8-59E71A827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C4E76EF-DC7A-4BD7-8EE4-1011E6F37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11C9450-3684-46DB-8FCB-60D88C93B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F113D44-33C3-44E5-A858-54DC5DBCE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37FA6E4-F7DE-404F-8B38-8E5942C51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BAC861E6-5494-4EAE-AB38-410715508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CDAFC95-5303-49EF-A769-FD78934FE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0B94A7-292F-493E-8F5E-F14D5F5D6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E6BBB1-C446-4A9B-8201-54E2D5514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5CA1AB-7683-48B6-9E97-DBD82E216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6A2AD2-E786-42E9-BDC2-6C4CEF273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1EAEA9-E600-4036-A0BA-C4BA8C11B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558400-425C-4763-89D1-DC07D083C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1E3411-5BE8-4F68-B41E-534DDFA69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2CE599-0D1E-46B3-8D3C-92AB90F36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0AC8FC-1974-40C6-98D0-7409AA5FD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8076A3-429A-4E29-AF2C-9BAB622AA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59A547-F915-49ED-80A2-445A9B63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98E763-BC8E-4060-91BD-E8A32187B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DBF258-80B4-4C90-9A1B-721E960FE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1AB22B-3B79-4592-AF92-F8DD6F8E2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E57E62-F27A-47EC-826A-7CFB10838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EBCE1D-0392-48B6-AA57-2FE9278F1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9BB812-D59E-4B99-99E0-7BF7E6948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94829F-D255-42D7-9E6A-55D506550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275D37-B571-49FD-8C70-87F580DB6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CD9AF8-742F-4872-BF78-E6641D933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99D748-F0F6-4FE5-A40F-60FEE52C9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D3535F-113C-4EB8-8BD0-5BEF8900C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778B8E-0D76-4B4E-9A8A-E8E2F3586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8F7290-4DF9-4580-9D59-24A71A1B1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C438D2-3716-478D-895E-5509EB2F7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C32B3C-BDF2-439E-AC67-62D3B0F55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174B8A-9F9A-44EB-9C7F-BF4431CFD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7D08ED-2837-4511-BE9E-1D9C5EF07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9F7244-7AD6-4286-88EF-CBAE0FC41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3914E0-B0EF-4E1E-967A-83F703C07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6A4655-5734-44DE-91BB-41B673DD4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423BA6-7FE6-409A-9075-CEC811B37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62B69C-83CA-48CA-8BEC-2D45D25E6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E986DD-ABB8-4697-B0BF-449BAFA45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C61A0C-BE6B-4C3B-B5F4-512C092B5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A8726F-27E4-4EE6-A441-F77496D28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65DF53-E0BD-48DE-A450-2115EFB3F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B2243B-3697-4AE2-ACAF-2E82F41F1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797228-FEC4-40BD-B082-2F1575A620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5B17A6-62FB-40B0-B92E-08788A99F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2AEFE2-B6FA-4ABF-808C-ACA9CD409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215B8C-098B-4370-B356-13B7898E7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DC1EB-55C7-4808-9D0D-B31E5D371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FE3D5B-FAE1-4EAC-8FF7-6E5433136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2157B4-5FCA-4AE3-8016-814F0EF07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653C0A-287B-400C-AB71-810D56DE4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D779D94-89CA-4736-8ABB-4E5ECD6F4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E1C484-EA9D-437A-B03F-B4A3D2E6B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5B35E8-46A5-4D33-99E5-1F47CC217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E60EB9-567D-4A6B-90DB-932F4A06E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1738B4-5C24-410E-8021-54A0E8734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6F4D42-18B4-4D7D-9BAD-A05712AD8F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F51BD0-E1ED-4FA8-88E1-1DB7625E0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66BAEC-EB0B-47AA-AD8B-935519C1F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D83CB8-C541-4488-B174-E978FCB53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B98AEE-9229-4017-802C-C1EB64965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ECB1CE-2F10-4D05-B8A2-9856C5DC3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B6A422-01D6-4BA3-9358-552227FDF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3ADEBA-08F1-4A43-8C04-74978E150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FB48D7-57AC-46DB-B205-AE1C2F2E4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2B5931-5965-40DD-8042-646E69826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45525D-B4A2-4C47-93EA-70C8A79730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B945A4-1E13-4E9C-A83C-99F26E5CC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3F1E14-7384-452E-81C4-01489A6D7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03849A-2C70-44F9-8D22-FD37983A9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AC126F-FF25-4CB4-890C-6B519C632D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F9057BD-F9A5-4BC6-98D1-A2C9FDEB9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26E59A-35B6-4C0C-992A-634B3D5ED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999DA1-1CC8-4EFD-9126-24252FF708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D3554B-2255-42B7-AA60-368E5E0C8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FFDE90-A47D-40A4-A3C5-51377B7D8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326ADE-497D-4026-AB89-5FA69FA10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3C0E65-6632-4A0A-9397-D72D32D1A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F47844-1BE8-4B13-AE73-6A620B7E7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C75C9C-511B-47F0-9379-2B93ED95A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E7288D-9806-4985-AB92-A244CE3BE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8EC84D-BFB3-4F9E-8290-DE4F12553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060D8A-47FB-441A-945A-5A7F132A3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B2073A-62A8-4D5A-AD34-9AFAB29CA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71ED76-021C-4FD9-9844-CB02E3E47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7C7DBC-F96A-446B-8889-C8B0E6D83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BCDE40-2F34-462F-A0EF-1E59AF67FA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A2BBDB-4B8E-4926-8A19-5A7A11D21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D0E60E-0B39-4235-A12D-B0DDF13EB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4B75D9-9B79-42AE-82E9-394025727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27BE1A-FC9D-478D-B403-AB16CC645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3E754E-D1BE-4045-BB7E-A8F3E26E2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7F30F3-9FFF-432F-B68A-AD4B76B34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38C615-3A33-4E93-90FD-DCF197425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E424BB-B912-4505-BCD1-306099660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6BEE3A-49B7-4EFF-9DA6-B79007D90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DBDD4B-EB41-48AE-A8AA-73DB1DCB5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FF1891-6294-4F34-A067-E1ABE3A9B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D4630E-33E2-44DB-A30D-EDA1BF907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4999CD-A23A-4478-8C27-3879255B0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F6EF22-658C-4073-8C9E-BE3BF9C47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E11657-5776-474B-A8E4-E5223D62F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9E8EB2-F5C2-4B8E-A544-E846B3BB3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2E5862-B348-4211-B1BB-759BD6370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993D2D-C6B5-4D4F-B935-D85B81D26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F97C6D-67A0-49AA-A14B-C781FF2F5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67425C-4A67-4477-A725-145C146B6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DE7F44-6877-42C5-8B45-C201F6249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EA8D42-179C-4C57-88B4-356D186F8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E8BF50-B69F-46EC-9395-4D2860EBB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C889C9-6599-404E-B067-474308C3A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DB69D1-F55C-49A7-A166-D5A855472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CA5FFB-62FB-47C4-BF98-28803EEC6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EB983C-1C0B-4ADD-A192-FA149A358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B6ED487-362C-43EB-B0E3-0F520F0A7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2E18CF-0708-481B-ACF8-8861B16B0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5E023B-9DAC-40B2-8B55-4A2CD240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DD5090-5D04-48B6-86AC-B2EC364F0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C94CE2-3BBD-4839-BB19-1788F3525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7A1061-8A86-4837-AEC6-C7CD1ECC2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E6DAE5-0C41-4C02-9F26-41B8151D4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436773-3CA3-4F4E-935A-D4BE1FB59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E46ED7-46F4-4D94-B4B6-22F9BF9AC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CEEBE-C9BB-49F5-9EAE-1E38EEBC6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71E6A9-4F27-4AFE-AF9D-A078B8CF9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313BDE-7548-4FCF-AA72-29C3A0BA9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19E6F2E-90C5-4CF0-9C8B-097B3BC1B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E73A06-F736-40B8-A894-728267E1E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61569B-DBB5-4194-A52B-F7036D594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D807FC-0763-4149-9A94-985EBD67F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71B079-02AE-45F7-B693-1630A5CB1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131B7D-994A-40A9-A1DB-09E044988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B46403-E7B3-41BE-9598-DD83AB730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DC1E64-71B0-45FD-A04C-08E177CFE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53F218-D6DD-46F0-B6A4-2CD521AC4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F79DDB-0F51-4F0E-91A6-D1846DC5F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3F2A0D-3CBE-4EE7-9F85-E20B69A26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69EEE7-A67D-461A-8A23-ABEBD7209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1C613A-BE45-4536-8C80-EF8742319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53487-4A6E-4006-865C-1F74100CE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BFAEC6-568A-44C7-BC70-4D55BF51D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C07B84-4744-4584-931D-B2E006A7B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105ECD-D6F4-4444-92B5-7A3DA7044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B4FDF2-91A7-4243-890E-E7D1C5C7D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018703-19DB-4A22-9611-B4430FD09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BF5154-13E0-4282-8CE7-D8EB9F359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3E99FD-5A40-44F4-B364-A69DBB3FA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66602F5-EF8C-4A42-A7B2-A7BBF3097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50EA27-48B2-498C-866C-31DC7FBAC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3E769F-DDB9-4D56-B875-CA8A56FDB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3A0394-1E8A-450C-9A10-E8FFEED86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ACC074-69A3-444F-864F-16403404B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623371-9C9F-4C9E-BD3A-16265460B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5CA972-09E8-4D21-A07C-0B9D484D9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16D81D-AC0B-473D-807B-1D52088C5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A94344-DFC6-4307-930F-8483CCEA8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DCFA26-4026-4457-AAB9-7A1672852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6BC6CB-516B-460D-B0FA-74466659B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E65C9D-88A0-479D-89F9-16CC57105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47F8A0E-381A-4696-9026-49D8CFE36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830F0D-15AE-4B93-8896-FF4BE5630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3776FE-DDAE-4A3E-8F71-AC160CCD9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066D6D-C42C-43EC-8FE5-2D0A23DC1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80BF21-B7B2-48CB-ACCB-5F98DB241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8C769D-4803-4646-A009-EA63819AA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4A75589-4703-42A6-A017-BC6906CA5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12324F-55DC-4FD4-A03C-B59301E2C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FA4574-3373-4399-A712-D22778769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59FAB0-DC31-4BBC-9760-397C865F9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B28B28-569E-476D-AE24-A22D63E43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5537A2-5300-417A-92A9-92C307DC2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242742-5FAD-40F1-A70C-1CA967A85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9F6812-5CD6-47F0-A127-48D740661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CA1C80-6791-4009-8FA0-D2424B8E1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803C1F-708A-44E5-B3DB-A5C571101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8D93F6-4A8A-41E6-8287-1E1955C1F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89BB12-B732-4640-8AA5-72AEF5740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B90008-D5DC-497A-A8E7-1D5842B68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3DE4DB-9D4A-4AC6-A954-A58B32372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A2344A-975B-4442-8978-471B887CD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DB94F6-0F06-4947-B08A-098775245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7DD7ED-44DA-4695-BC9B-850EF44A4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EEEB65-B3BC-4EBB-9CE7-33F30B264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BD60A7-6687-4BA6-8D10-F550E4C2E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EEAF88-822C-4106-B147-304EE9B04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AA72A1-57B4-4104-8465-5842BF1858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A72A1D-FC43-44A4-9861-ECB750D8A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0EB02ED-2E9C-4E70-8A20-E87F6490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0DB3B9-5073-48EE-8867-613EA695D5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82F514-5BED-4985-AADA-C8ED31414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D32949-F132-423F-AA17-8FFF75FAF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54DDB7-E9EF-4285-AEC3-CCA4F7B18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733B2B-2ABF-4D9C-B0DB-680CAAEB7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FBD8A5-19FE-40D9-9822-8CCDCCE52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02417E-5313-4468-8A0E-79648639E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8E29AA-DF52-4343-A082-C85790621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0DA952-3953-4285-B10E-74706A20F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741B06-EFEB-487A-837E-5416CC5C2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0BE34F-D5F6-495A-A10C-949619A7B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648A6D-9BE4-4EC6-B5CE-E5F796B2E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D60BB9-481F-4318-9409-7F32530EB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A851C8-AB0C-47ED-9E27-0D264AD76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82733E-6374-4E8B-A2B0-A40956BED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12B284-412D-49A6-85ED-65E7AA723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2F43402-82B8-4F82-B350-F669E633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2E63B1-C080-4156-9744-7AFDAC480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37D2B4-B6C7-4DE8-BC7C-16416315F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28D6B5-B1B5-4DEC-8BF1-EDCD30EB7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E748CA-D5FA-4661-A821-C8A52EF6E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8EC835-ED35-4279-8249-CA327D4F3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9612B1-CF80-47E5-87F3-B72552C9E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8FE091-6801-40B6-AE15-5C7D79FE5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AC89EB-EB51-4D89-8C1D-A35F35F5D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53F1E0-0F29-4D84-BBF7-A4838045D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85FBF9-161E-4EA7-84CA-E770EDBE2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DF124F-B5C6-423A-B02C-DF8C8973B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BF30E6-27C1-41B5-8CE8-5D6209617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72A705-8AB3-46B7-B06E-91B365F6A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F9CA39-A68C-48B8-86FD-665380D48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461A21-6930-43B9-AB39-D73C67ED9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3FAAD7-C78E-45FF-8715-D76DE2C69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8F7E83-61E9-4311-993F-E43468A55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34A413-85B0-4936-97C9-45A30014C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3897EF-547F-4261-A456-C64EC35D6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BF9039-A97C-437B-B91A-74A37098C7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290FE3-729A-409F-B032-8370DF82C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DE1568-2F00-4051-88E8-D2ADBD1C9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ABC6E9-F14D-4CD8-A5B3-A31582116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A03046-2D70-4190-980F-E6C31E5D7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41E9D0-992E-4CB8-B19F-5AF4A8A7D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1B2D21-25D8-400C-8CF9-5EBAAC237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ED69DA-BEB3-4878-A9FB-D154AE6D1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12FCA8-B682-4080-9018-65A92AC1A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AF66AB-E0BD-47B6-BABC-784F64CB5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362306-9C93-404A-8F87-03F9478E8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CEE05C1-FA2B-4353-9961-ADAD3516A9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E20199-978D-4C61-8B38-77F7323FF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0AFEB1-7537-4F67-B5C2-F36031D03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1C8D4-1064-48B2-BA15-B26195072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516E9D1-5C95-4F52-BBF4-3BF3C7349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83BF60-13E8-4E24-8D08-8D43E084F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B7AB50-7204-464F-87F7-178CEAF27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E79193-DD7B-4386-88B8-E090EBCD2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8B2AD1-E576-44CE-BD93-D68D0D727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5461FD-30EA-46F6-9A04-20E30EA27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BEE11C-D011-44F4-81FD-C0E88624F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685CAB-B3EF-4A3B-A6F3-09AFE3CBC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CCE4A1-F26A-481C-93DB-3F13AF934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891605-1C86-4595-B9C7-39E4F782A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EF9A4A-BE65-4482-B865-E6A9A7EA0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79E973-7E5C-4A3E-A311-F4D942530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62FE22-C5A7-4053-AC2C-650F0BB08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3311A1-F7FF-4FD9-A6FF-A78A9BB7F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5E9B10-1067-4467-BC2C-AEB3E95B0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7AD460-DDD9-4A90-A5C1-6DDAB85D4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5BAC37-7295-4864-B8D7-58F241393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018F8C-CEF4-4E8E-91B9-0C512C1C2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6B05C6-1924-43F3-9737-6792E7E04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BDC26A-6665-485F-805F-D1DE23CF3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8BA09B-60D3-4D8D-BF23-166FBE7CB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E02DD07-2E42-4FBF-9C34-691477E00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B2B593-BCC0-4939-804E-11F56077F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C49DCA-D8BC-4EEE-9595-44778F24B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81B319-A3B6-488A-9D8C-34A7BF5F1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A79CD6-11DC-4C65-B89D-5CBB30B35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88D79E-E48D-4286-9F11-27C1AC1D3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B0DC5A-0F6C-400C-8041-4556B25DB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CA3C7F-696C-43B6-B402-CA06E1F7D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A37F51-5223-486A-9701-94D18995C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8BA8197-F874-42AD-BBC4-635905453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821848C-1513-4603-BBC5-1E7ECD515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16806E7-C27E-4780-920F-1B007724E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F25A80A-CD0E-498D-A01A-32B1A700F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CB433A4-8381-4DE8-9108-272726F78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2B2D8A5-EF61-4CF4-8482-FDA76C298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B2EF04E-D5FA-4F07-9BB8-0AE202E50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60EDE50-1C86-4B05-861F-9AD294187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14C222-1992-4D90-A6E3-712CFDBCE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AA8EBD-9F48-4B00-A7E2-BCD08D38A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61F7B9-FC25-403B-A14D-613D4E5EC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4DD03D-429C-4B6D-9A5C-4C35C1CC4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2DF37E2-FEF4-434A-85F8-7D4BB5C20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E96F9C-4DE6-44EA-9919-7D4D3BBFB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BD465D-8B20-4D4B-8CE4-918687ACE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618EC6-6806-45FF-8C38-318CEA41C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7695498-EFC9-4FE5-B1F6-EACCE90BC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2F50EC0-E0F8-4837-9149-BD31D9BF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C3FB528-390C-4AB5-975F-1FE270DEF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8EED32C-F5B9-4117-A77E-1DF10F2FD1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0A6C73F-4AC7-49E1-97DD-748E3B64B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0EC9138-0F9C-49CE-9DA9-B11B04483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74443E6-9A55-4AA4-B12B-86AF9177F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2C2B4BD-555D-4235-8209-9F199DB4D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4A428-1FD1-43C7-8A1B-EB75F4446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16FCDA-4253-4AF9-B43D-435ACAB37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55865F-74C1-4573-A231-D6DDD78D5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5DE4D0-8BAE-4918-A4C3-BFC9AFFDF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6FB6ED-970C-49AD-9A9C-C9EBE2F3F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23F612-5CC0-4DB6-89A8-BAD72BA7D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170402-B973-4F01-8D46-FAE1CA1CC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119C8A-1787-49F3-B41B-3AFC4AAF5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018B899-48BE-4D8A-AE2F-A5E5F1061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A7CF12A-AD5B-4E83-ACB4-F9B849A72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AD1E63E-20B6-4FBC-BE03-DCBDD8AED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E6BCFE7-3A7A-450C-B173-5154FA6A5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ED75E2F-42CF-40DE-9AA7-E65CC1D8E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D4C7BB1-3471-4A82-96AC-EB8DB6D9E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5387411-F411-491F-8057-CF2989C3F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530E3D97-8EC8-42DD-BB25-1C6B44B5B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97742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8816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72007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2469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6340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775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4418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6200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3221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92278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5383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28169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1727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66922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8231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43949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54225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3031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2512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4014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0230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7771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50448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9460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99048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12995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85940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20476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4173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12071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0580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65232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87860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768935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03967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81853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58920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92023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84036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37286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378092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112415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315171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82119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150499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95626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03807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49095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0923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178073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586990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83202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2684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01477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59960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005723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011428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25098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0398342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65056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9279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92301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8808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68068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27485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4403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981059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410956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210050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582221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34194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185194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31080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262990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19268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5/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9655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2325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2982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541</Words>
  <Application>Microsoft Office PowerPoint</Application>
  <PresentationFormat>On-screen Show (16:9)</PresentationFormat>
  <Paragraphs>3872</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5T13:0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